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3"/>
  </p:notesMasterIdLst>
  <p:sldIdLst>
    <p:sldId id="392" r:id="rId2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6B8"/>
    <a:srgbClr val="2FB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0" autoAdjust="0"/>
    <p:restoredTop sz="90817" autoAdjust="0"/>
  </p:normalViewPr>
  <p:slideViewPr>
    <p:cSldViewPr snapToGrid="0">
      <p:cViewPr varScale="1">
        <p:scale>
          <a:sx n="71" d="100"/>
          <a:sy n="71" d="100"/>
        </p:scale>
        <p:origin x="1572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5/02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F37DC458-AA7F-B640-F21C-6770F7625D83}"/>
              </a:ext>
            </a:extLst>
          </p:cNvPr>
          <p:cNvCxnSpPr>
            <a:cxnSpLocks/>
            <a:stCxn id="24" idx="1"/>
          </p:cNvCxnSpPr>
          <p:nvPr/>
        </p:nvCxnSpPr>
        <p:spPr>
          <a:xfrm flipH="1">
            <a:off x="2198269" y="3356106"/>
            <a:ext cx="420727" cy="690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215444"/>
          </a:xfrm>
        </p:spPr>
        <p:txBody>
          <a:bodyPr/>
          <a:lstStyle/>
          <a:p>
            <a:r>
              <a:rPr lang="en-GB" sz="1400" b="1" dirty="0"/>
              <a:t>Revenue Value Driver Tree</a:t>
            </a:r>
            <a:endParaRPr lang="en-AU" sz="1400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C8F6F-F722-4F6F-8BAB-BAAF3438C6A2}"/>
              </a:ext>
            </a:extLst>
          </p:cNvPr>
          <p:cNvSpPr/>
          <p:nvPr/>
        </p:nvSpPr>
        <p:spPr>
          <a:xfrm>
            <a:off x="330200" y="3005137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tx1"/>
                </a:solidFill>
              </a:rPr>
              <a:t>Revenues</a:t>
            </a:r>
            <a:endParaRPr lang="en-AU" sz="1050" b="1" dirty="0" err="1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6D86FE-D8F1-40C0-8751-D4F20FB58738}"/>
              </a:ext>
            </a:extLst>
          </p:cNvPr>
          <p:cNvSpPr/>
          <p:nvPr/>
        </p:nvSpPr>
        <p:spPr>
          <a:xfrm>
            <a:off x="2597150" y="1239116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001 Private Water Hedge Sa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2C49D4-82EC-4578-A00C-A6CC31BD214D}"/>
              </a:ext>
            </a:extLst>
          </p:cNvPr>
          <p:cNvSpPr/>
          <p:nvPr/>
        </p:nvSpPr>
        <p:spPr>
          <a:xfrm>
            <a:off x="2606675" y="5169688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003 Residential Sales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AB0563B-8DE3-4C6D-A2EB-E25B76303051}"/>
              </a:ext>
            </a:extLst>
          </p:cNvPr>
          <p:cNvCxnSpPr>
            <a:stCxn id="3" idx="3"/>
            <a:endCxn id="5" idx="1"/>
          </p:cNvCxnSpPr>
          <p:nvPr/>
        </p:nvCxnSpPr>
        <p:spPr>
          <a:xfrm flipV="1">
            <a:off x="1847850" y="1594716"/>
            <a:ext cx="749300" cy="1766021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F8D9E771-BBE9-4B75-98EC-7C6E822CB83A}"/>
              </a:ext>
            </a:extLst>
          </p:cNvPr>
          <p:cNvCxnSpPr>
            <a:stCxn id="3" idx="3"/>
            <a:endCxn id="6" idx="1"/>
          </p:cNvCxnSpPr>
          <p:nvPr/>
        </p:nvCxnSpPr>
        <p:spPr>
          <a:xfrm>
            <a:off x="1847850" y="3360737"/>
            <a:ext cx="758825" cy="2164551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5129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7987464-1BC8-47B3-8E49-660CBBA650B6}"/>
              </a:ext>
            </a:extLst>
          </p:cNvPr>
          <p:cNvSpPr/>
          <p:nvPr/>
        </p:nvSpPr>
        <p:spPr>
          <a:xfrm>
            <a:off x="2618996" y="3005137"/>
            <a:ext cx="1527175" cy="7019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002 Public Sa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B4E9F8B-31BA-4E4E-84E7-360424AB2B99}"/>
              </a:ext>
            </a:extLst>
          </p:cNvPr>
          <p:cNvSpPr/>
          <p:nvPr/>
        </p:nvSpPr>
        <p:spPr>
          <a:xfrm>
            <a:off x="4978400" y="798235"/>
            <a:ext cx="1517650" cy="74928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1) - Sof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C2F10C4-4FAB-4FC3-929F-77F655AADC6B}"/>
              </a:ext>
            </a:extLst>
          </p:cNvPr>
          <p:cNvSpPr/>
          <p:nvPr/>
        </p:nvSpPr>
        <p:spPr>
          <a:xfrm>
            <a:off x="4978400" y="1872423"/>
            <a:ext cx="1517650" cy="572903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2) - Hard</a:t>
            </a:r>
          </a:p>
          <a:p>
            <a:pPr algn="ctr"/>
            <a:endParaRPr lang="en-AU" sz="1050" b="1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CF47F44-5E99-482F-817B-5BEFB3D17BDE}"/>
              </a:ext>
            </a:extLst>
          </p:cNvPr>
          <p:cNvSpPr/>
          <p:nvPr/>
        </p:nvSpPr>
        <p:spPr>
          <a:xfrm>
            <a:off x="4978400" y="2704777"/>
            <a:ext cx="1517650" cy="655959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1) - Sof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BCB8F1D-AD04-4C82-9EC2-14AEC6B451A6}"/>
              </a:ext>
            </a:extLst>
          </p:cNvPr>
          <p:cNvSpPr/>
          <p:nvPr/>
        </p:nvSpPr>
        <p:spPr>
          <a:xfrm>
            <a:off x="5003800" y="3581786"/>
            <a:ext cx="1517650" cy="79630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2) - Hard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1AF2829-6123-4E35-A5EA-3FFD21D0189C}"/>
              </a:ext>
            </a:extLst>
          </p:cNvPr>
          <p:cNvSpPr/>
          <p:nvPr/>
        </p:nvSpPr>
        <p:spPr>
          <a:xfrm>
            <a:off x="4978400" y="5114582"/>
            <a:ext cx="1517650" cy="8214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1) - Soft</a:t>
            </a:r>
          </a:p>
        </p:txBody>
      </p: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DB8C5EDA-E0B8-4AB6-8CAA-5EF5C2447C70}"/>
              </a:ext>
            </a:extLst>
          </p:cNvPr>
          <p:cNvCxnSpPr>
            <a:cxnSpLocks/>
            <a:stCxn id="5" idx="3"/>
            <a:endCxn id="25" idx="1"/>
          </p:cNvCxnSpPr>
          <p:nvPr/>
        </p:nvCxnSpPr>
        <p:spPr>
          <a:xfrm flipV="1">
            <a:off x="4114800" y="1172877"/>
            <a:ext cx="863600" cy="421839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9D75ECE7-18F9-4B6A-9EA9-45EBAFCDC19F}"/>
              </a:ext>
            </a:extLst>
          </p:cNvPr>
          <p:cNvCxnSpPr>
            <a:cxnSpLocks/>
            <a:stCxn id="5" idx="3"/>
            <a:endCxn id="26" idx="1"/>
          </p:cNvCxnSpPr>
          <p:nvPr/>
        </p:nvCxnSpPr>
        <p:spPr>
          <a:xfrm>
            <a:off x="4114800" y="1594716"/>
            <a:ext cx="863600" cy="564159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0E7F1FB9-82A8-41B5-A6B4-107B1DC816C8}"/>
              </a:ext>
            </a:extLst>
          </p:cNvPr>
          <p:cNvCxnSpPr>
            <a:cxnSpLocks/>
            <a:stCxn id="24" idx="3"/>
            <a:endCxn id="27" idx="1"/>
          </p:cNvCxnSpPr>
          <p:nvPr/>
        </p:nvCxnSpPr>
        <p:spPr>
          <a:xfrm flipV="1">
            <a:off x="4146171" y="3032757"/>
            <a:ext cx="832229" cy="323349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E91D55F3-BDB0-435E-802F-ACA65656CE4C}"/>
              </a:ext>
            </a:extLst>
          </p:cNvPr>
          <p:cNvCxnSpPr>
            <a:cxnSpLocks/>
            <a:stCxn id="24" idx="3"/>
            <a:endCxn id="28" idx="1"/>
          </p:cNvCxnSpPr>
          <p:nvPr/>
        </p:nvCxnSpPr>
        <p:spPr>
          <a:xfrm>
            <a:off x="4146171" y="3356106"/>
            <a:ext cx="857629" cy="623834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5B8C019-47BE-4B43-B41C-4FCEAA2CC419}"/>
              </a:ext>
            </a:extLst>
          </p:cNvPr>
          <p:cNvSpPr txBox="1"/>
          <p:nvPr/>
        </p:nvSpPr>
        <p:spPr>
          <a:xfrm>
            <a:off x="2825750" y="495791"/>
            <a:ext cx="1790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Profit Centr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7C6221-E9EB-41A4-9AA7-0C7502ADEDE6}"/>
              </a:ext>
            </a:extLst>
          </p:cNvPr>
          <p:cNvSpPr txBox="1"/>
          <p:nvPr/>
        </p:nvSpPr>
        <p:spPr>
          <a:xfrm>
            <a:off x="4921250" y="470944"/>
            <a:ext cx="2000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Profit Centre Elements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72036B6F-7D09-4959-B3BC-BA5FEA4833E6}"/>
              </a:ext>
            </a:extLst>
          </p:cNvPr>
          <p:cNvSpPr/>
          <p:nvPr/>
        </p:nvSpPr>
        <p:spPr>
          <a:xfrm>
            <a:off x="2063469" y="3204446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75BE094-FE88-472F-94F1-111FE8B60F33}"/>
              </a:ext>
            </a:extLst>
          </p:cNvPr>
          <p:cNvCxnSpPr>
            <a:cxnSpLocks/>
            <a:stCxn id="6" idx="3"/>
            <a:endCxn id="29" idx="1"/>
          </p:cNvCxnSpPr>
          <p:nvPr/>
        </p:nvCxnSpPr>
        <p:spPr>
          <a:xfrm>
            <a:off x="4124325" y="5525288"/>
            <a:ext cx="85407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Oval 3">
            <a:extLst>
              <a:ext uri="{FF2B5EF4-FFF2-40B4-BE49-F238E27FC236}">
                <a16:creationId xmlns:a16="http://schemas.microsoft.com/office/drawing/2014/main" id="{1B1AFC05-617E-7D8F-FF68-F4FC85DAFC92}"/>
              </a:ext>
            </a:extLst>
          </p:cNvPr>
          <p:cNvSpPr/>
          <p:nvPr/>
        </p:nvSpPr>
        <p:spPr>
          <a:xfrm>
            <a:off x="4402685" y="1465629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22B4BD3-9D48-F2CB-94E7-538D80377E65}"/>
              </a:ext>
            </a:extLst>
          </p:cNvPr>
          <p:cNvSpPr/>
          <p:nvPr/>
        </p:nvSpPr>
        <p:spPr>
          <a:xfrm>
            <a:off x="4424721" y="3266170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18C042A-F8D8-9AEE-77CF-424B73E4E94A}"/>
              </a:ext>
            </a:extLst>
          </p:cNvPr>
          <p:cNvCxnSpPr/>
          <p:nvPr/>
        </p:nvCxnSpPr>
        <p:spPr>
          <a:xfrm>
            <a:off x="2606675" y="1797773"/>
            <a:ext cx="151765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DC084DE8-5304-D2C9-9E26-AD540C52880F}"/>
              </a:ext>
            </a:extLst>
          </p:cNvPr>
          <p:cNvSpPr txBox="1"/>
          <p:nvPr/>
        </p:nvSpPr>
        <p:spPr>
          <a:xfrm>
            <a:off x="3194050" y="1748612"/>
            <a:ext cx="9398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</a:rPr>
              <a:t>$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4B15019-A071-A4AB-CD90-540D02634EB6}"/>
              </a:ext>
            </a:extLst>
          </p:cNvPr>
          <p:cNvCxnSpPr/>
          <p:nvPr/>
        </p:nvCxnSpPr>
        <p:spPr>
          <a:xfrm>
            <a:off x="2611967" y="3513927"/>
            <a:ext cx="151765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0804DD59-CA30-12AF-4B1E-B30C50B377CB}"/>
              </a:ext>
            </a:extLst>
          </p:cNvPr>
          <p:cNvSpPr txBox="1"/>
          <p:nvPr/>
        </p:nvSpPr>
        <p:spPr>
          <a:xfrm>
            <a:off x="3189817" y="3492459"/>
            <a:ext cx="9398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</a:rPr>
              <a:t>$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F986508-4381-79A5-4275-33BAD3DBCA55}"/>
              </a:ext>
            </a:extLst>
          </p:cNvPr>
          <p:cNvCxnSpPr/>
          <p:nvPr/>
        </p:nvCxnSpPr>
        <p:spPr>
          <a:xfrm>
            <a:off x="2606675" y="5687741"/>
            <a:ext cx="151765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6F9A4A6D-5391-BE77-4A6E-3E087B2B31EC}"/>
              </a:ext>
            </a:extLst>
          </p:cNvPr>
          <p:cNvSpPr txBox="1"/>
          <p:nvPr/>
        </p:nvSpPr>
        <p:spPr>
          <a:xfrm>
            <a:off x="3184525" y="5666273"/>
            <a:ext cx="9398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</a:rPr>
              <a:t>$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C78F63C-66DC-5639-3C2E-718D18F1F9CF}"/>
              </a:ext>
            </a:extLst>
          </p:cNvPr>
          <p:cNvCxnSpPr>
            <a:cxnSpLocks/>
          </p:cNvCxnSpPr>
          <p:nvPr/>
        </p:nvCxnSpPr>
        <p:spPr>
          <a:xfrm>
            <a:off x="4978400" y="2255755"/>
            <a:ext cx="158115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651D74B9-8118-62CB-13A3-A46E02F256A5}"/>
              </a:ext>
            </a:extLst>
          </p:cNvPr>
          <p:cNvSpPr txBox="1"/>
          <p:nvPr/>
        </p:nvSpPr>
        <p:spPr>
          <a:xfrm>
            <a:off x="5556250" y="2222117"/>
            <a:ext cx="9398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</a:rPr>
              <a:t>$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4E68374-600E-B15E-9DD7-1264344ACC53}"/>
              </a:ext>
            </a:extLst>
          </p:cNvPr>
          <p:cNvCxnSpPr>
            <a:cxnSpLocks/>
          </p:cNvCxnSpPr>
          <p:nvPr/>
        </p:nvCxnSpPr>
        <p:spPr>
          <a:xfrm>
            <a:off x="4978400" y="1355270"/>
            <a:ext cx="158115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E3C87DD0-B604-9E73-09DC-223E40B0C842}"/>
              </a:ext>
            </a:extLst>
          </p:cNvPr>
          <p:cNvSpPr txBox="1"/>
          <p:nvPr/>
        </p:nvSpPr>
        <p:spPr>
          <a:xfrm>
            <a:off x="5556250" y="1321632"/>
            <a:ext cx="9398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</a:rPr>
              <a:t>$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96BAF71-357C-BABC-F9E9-2B0F0913E7D8}"/>
              </a:ext>
            </a:extLst>
          </p:cNvPr>
          <p:cNvCxnSpPr>
            <a:cxnSpLocks/>
          </p:cNvCxnSpPr>
          <p:nvPr/>
        </p:nvCxnSpPr>
        <p:spPr>
          <a:xfrm>
            <a:off x="4976075" y="3204446"/>
            <a:ext cx="158115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1D218B22-2187-12BC-B7F0-5B96C27066E2}"/>
              </a:ext>
            </a:extLst>
          </p:cNvPr>
          <p:cNvSpPr txBox="1"/>
          <p:nvPr/>
        </p:nvSpPr>
        <p:spPr>
          <a:xfrm>
            <a:off x="5553925" y="3170808"/>
            <a:ext cx="9398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</a:rPr>
              <a:t>$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579FCF42-A9DD-2C75-3351-0311396B9E19}"/>
              </a:ext>
            </a:extLst>
          </p:cNvPr>
          <p:cNvCxnSpPr>
            <a:cxnSpLocks/>
          </p:cNvCxnSpPr>
          <p:nvPr/>
        </p:nvCxnSpPr>
        <p:spPr>
          <a:xfrm>
            <a:off x="5003800" y="4153137"/>
            <a:ext cx="158115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24BD5D4E-C27E-0320-C5DE-3001DB69F226}"/>
              </a:ext>
            </a:extLst>
          </p:cNvPr>
          <p:cNvSpPr txBox="1"/>
          <p:nvPr/>
        </p:nvSpPr>
        <p:spPr>
          <a:xfrm>
            <a:off x="5581650" y="4119499"/>
            <a:ext cx="9398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</a:rPr>
              <a:t>$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4193170E-C8B1-F773-267C-88C8D3739760}"/>
              </a:ext>
            </a:extLst>
          </p:cNvPr>
          <p:cNvCxnSpPr>
            <a:cxnSpLocks/>
          </p:cNvCxnSpPr>
          <p:nvPr/>
        </p:nvCxnSpPr>
        <p:spPr>
          <a:xfrm>
            <a:off x="4976075" y="5711852"/>
            <a:ext cx="158115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1C33881E-C412-0F89-EBD8-DC669C624477}"/>
              </a:ext>
            </a:extLst>
          </p:cNvPr>
          <p:cNvSpPr txBox="1"/>
          <p:nvPr/>
        </p:nvSpPr>
        <p:spPr>
          <a:xfrm>
            <a:off x="5553925" y="5678214"/>
            <a:ext cx="9398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</a:rPr>
              <a:t>$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7862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168</TotalTime>
  <Words>62</Words>
  <Application>Microsoft Office PowerPoint</Application>
  <PresentationFormat>Custom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1_Synergy_CF_YNR013</vt:lpstr>
      <vt:lpstr>think-cell Slide</vt:lpstr>
      <vt:lpstr>Revenue Value Driver T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Dagmawi Kassa</cp:lastModifiedBy>
  <cp:revision>49</cp:revision>
  <dcterms:created xsi:type="dcterms:W3CDTF">2020-04-12T13:23:13Z</dcterms:created>
  <dcterms:modified xsi:type="dcterms:W3CDTF">2024-02-05T15:22:51Z</dcterms:modified>
</cp:coreProperties>
</file>